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6" r:id="rId2"/>
    <p:sldId id="259" r:id="rId3"/>
    <p:sldId id="263" r:id="rId4"/>
    <p:sldId id="265" r:id="rId5"/>
    <p:sldId id="260" r:id="rId6"/>
    <p:sldId id="261" r:id="rId7"/>
    <p:sldId id="267" r:id="rId8"/>
    <p:sldId id="264" r:id="rId9"/>
    <p:sldId id="262" r:id="rId10"/>
    <p:sldId id="268" r:id="rId11"/>
    <p:sldId id="275" r:id="rId12"/>
    <p:sldId id="269" r:id="rId13"/>
    <p:sldId id="271" r:id="rId14"/>
    <p:sldId id="272" r:id="rId15"/>
    <p:sldId id="273" r:id="rId16"/>
    <p:sldId id="274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FD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7074" autoAdjust="0"/>
  </p:normalViewPr>
  <p:slideViewPr>
    <p:cSldViewPr snapToGrid="0">
      <p:cViewPr varScale="1">
        <p:scale>
          <a:sx n="95" d="100"/>
          <a:sy n="95" d="100"/>
        </p:scale>
        <p:origin x="105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CE42D1-613D-4332-9A19-705EC028E1B3}" type="datetimeFigureOut">
              <a:rPr lang="en-GB" smtClean="0"/>
              <a:t>23/10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41BD37-0194-4D45-8D40-6B5080FA44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141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44622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64934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88754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at will be the end of my presentation, thank you for your attention, and now I will open the floor for questio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0866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1645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25353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718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2002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>
              <a:effectLst/>
              <a:latin typeface="Times New Roman" panose="02020603050405020304" pitchFamily="18" charset="0"/>
              <a:ea typeface="Palatino Linotype" panose="0204050205050503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8373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7582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3912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kern="1200" dirty="0">
              <a:solidFill>
                <a:srgbClr val="BDC1C6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13408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05386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97547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18585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542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7F839-C01D-5A81-594E-725C6973DC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E5DE9F-FA2A-F89B-960A-54D5626EC9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917DD9-5900-B247-1D93-BEC3D01EFF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77988-535B-44F8-BD1E-43F007484824}" type="datetime1">
              <a:rPr lang="en-GB" smtClean="0"/>
              <a:t>23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196EE-FB74-9986-E420-3B9292AFE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AE0A0-023B-A937-5554-7C76F26F8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266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8409E-6970-7CB6-7E58-B0F8AC27C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5BE440-E79C-EE3A-627E-1EECE96FA8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5C3741-C94D-B3D6-0B0D-217B8A4DE4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434D6-22B4-48DB-9FB1-4637EED94B6F}" type="datetime1">
              <a:rPr lang="en-GB" smtClean="0"/>
              <a:t>23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4C5AFE-530F-E1DE-6EBA-F9D19BEA2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49A82-7901-9C95-8487-9BC521408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958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2FEA1F8-E784-B918-3FB5-1872009B9D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3D3E07-C9CE-8420-61F5-D8062B4C92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522E5-2531-2530-6FBB-2E9E0A6B0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BA85F-474D-4BB0-935A-768BAF8A0B95}" type="datetime1">
              <a:rPr lang="en-GB" smtClean="0"/>
              <a:t>23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246E9D-1BA2-5FF6-AD86-24034812C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989AAC-E447-B7C1-C058-30BF9B425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7854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14537B-9A71-3232-94CB-6AD06F4F4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815C24-9D69-9C68-29A7-5639652F70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AF81D1-70CE-0EDC-1310-3B9D30BD5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10176-91FD-46B9-8ACB-34F1364631FA}" type="datetime1">
              <a:rPr lang="en-GB" smtClean="0"/>
              <a:t>23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788EAF-5FE1-7154-EF8D-E6963E4F7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E84985-1360-7752-9BEC-1AF33DDD9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7321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DAF10-5945-FFDE-16EC-B516C3B02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CBDF2E-9A9F-029F-49D1-AB634A944D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A285A7-F207-6541-980A-37C77C56C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D1649-4550-40D4-8BCD-C5FB14D08FC2}" type="datetime1">
              <a:rPr lang="en-GB" smtClean="0"/>
              <a:t>23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E4AA50-CFB0-D273-C5A0-47FE39FD5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62984D-AAD7-537C-D39F-1554F9CF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69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BB04C-6E5E-84BD-8BB0-D3494D438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C84F1-B7FA-11D8-2723-041E800FFA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FF3276-18A9-5836-2FCC-A3458FF6A0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063D3D-0DFF-2841-EB4D-BE8FD328E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E208E-AFA7-4654-8D2F-BEB8F8DA8AB2}" type="datetime1">
              <a:rPr lang="en-GB" smtClean="0"/>
              <a:t>23/10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E84ED9-D069-C060-55D2-2B9A78F23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74175E-00D1-8778-7169-7927B8BF6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27669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4C348-A26C-FFF2-56E1-EE1599061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09EB38-8EB8-20B5-39B3-0CB6602633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5923B0-FAFB-B693-5130-699BD85244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54D618-F42F-08B1-19E8-715582EEDF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C5DC93A-39C5-2A15-5E29-723B01AA45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A5BB30C-76D9-4E51-F065-1582D2F8C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320988-67FA-4094-A298-8BFDF7933345}" type="datetime1">
              <a:rPr lang="en-GB" smtClean="0"/>
              <a:t>23/10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B9A5E5-E079-5CF0-D302-4413498D7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B10946-B909-1CFD-AB08-22451EF31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0825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B1767-4F44-3DD2-0A3C-3B7B20176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FE5635-0C0C-3B73-E8AF-77306855A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734E0-BB75-480C-A54C-6C8EB1BF0CCF}" type="datetime1">
              <a:rPr lang="en-GB" smtClean="0"/>
              <a:t>23/10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376B22-A9E1-6B02-BCE7-277267ED75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D2D507-0328-DDA2-B4FF-AE9A59E2B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5884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430839-294A-BEA7-5D57-00E6E5784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68D07-0D24-4C56-AA58-C30FA8BA2360}" type="datetime1">
              <a:rPr lang="en-GB" smtClean="0"/>
              <a:t>23/10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091789-6A7F-666E-6121-97C097EE6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C036A-F366-CEA9-F6C5-71DCC2E97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321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6CCE8-7C92-213A-4D7B-058E6CA69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E0B1A6-9DE7-3FEF-AE7A-40F0CA479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AAA931-6259-45D9-B2CF-6E0F0F0830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658E91-823B-98E4-E128-8064CA5DC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6FA0-200F-4E5F-A64E-B5ECFF55DF02}" type="datetime1">
              <a:rPr lang="en-GB" smtClean="0"/>
              <a:t>23/10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4D5DDD-0F53-EB2D-6D36-6B5A7809B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28FD3A-5DA9-10DB-0B1F-B95716E50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078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34CCC-7990-EC45-FE00-036214020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333527C-D21C-12B0-037F-57E5BF0B01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F4E5CE-870F-024A-7488-8C71B4CE9F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E3E801-EF4A-54DE-4A10-3050413C0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545CB-1863-4CCF-9BE3-6709BC7C108F}" type="datetime1">
              <a:rPr lang="en-GB" smtClean="0"/>
              <a:t>23/10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DA057A-8AF5-697A-7A0D-EB82A1269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1A1506-1DCA-6B8D-AAD6-7087D2CC9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1770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334A3E-2D7E-4E2E-65D9-B72CA26CB0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9206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0E574E-4CC8-C90C-0DF0-071676EA0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BF2BE1-117E-54A1-DD3D-CE08F5FAE1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93DA08-F362-1840-DA8F-9BE48521F2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65E8F7-4594-4563-86BE-DE955395A6A4}" type="datetime1">
              <a:rPr lang="en-GB" smtClean="0"/>
              <a:t>23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C0F61-64D1-5402-E11F-AD48D1BB7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24DF-5B71-B52C-6833-D164BDA68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2389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5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0.svg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.emf"/><Relationship Id="rId15" Type="http://schemas.openxmlformats.org/officeDocument/2006/relationships/image" Target="../media/image26.svg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2.svg"/><Relationship Id="rId1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7.png"/><Relationship Id="rId11" Type="http://schemas.openxmlformats.org/officeDocument/2006/relationships/image" Target="../media/image30.svg"/><Relationship Id="rId5" Type="http://schemas.openxmlformats.org/officeDocument/2006/relationships/image" Target="../media/image1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FA312C-0CD1-34F2-F3B7-6400D93F8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9538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5" name="Picture 7" descr="What exactly is solar energy and how does it work? - CNET">
            <a:extLst>
              <a:ext uri="{FF2B5EF4-FFF2-40B4-BE49-F238E27FC236}">
                <a16:creationId xmlns:a16="http://schemas.microsoft.com/office/drawing/2014/main" id="{32A21136-7087-5CDF-83DE-965C6F736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alphaModFix amt="1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C7AAFB-84D2-4172-B3D3-52F769E7AA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pPr algn="ctr"/>
            <a:r>
              <a:rPr lang="en-US" sz="4000" dirty="0">
                <a:solidFill>
                  <a:srgbClr val="3366FF"/>
                </a:solidFill>
                <a:effectLst/>
                <a:latin typeface="Times New Roman" panose="02020603050405020304" pitchFamily="18" charset="0"/>
                <a:ea typeface="Palatino Linotype" panose="02040502050505030304" pitchFamily="18" charset="0"/>
                <a:cs typeface="Palatino Linotype" panose="02040502050505030304" pitchFamily="18" charset="0"/>
              </a:rPr>
              <a:t>Comparison of SARIMA and LSTM models</a:t>
            </a:r>
            <a:br>
              <a:rPr lang="en-SG" sz="4000" dirty="0">
                <a:effectLst/>
                <a:latin typeface="Palatino Linotype" panose="02040502050505030304" pitchFamily="18" charset="0"/>
                <a:ea typeface="Palatino Linotype" panose="02040502050505030304" pitchFamily="18" charset="0"/>
                <a:cs typeface="Palatino Linotype" panose="02040502050505030304" pitchFamily="18" charset="0"/>
              </a:rPr>
            </a:br>
            <a:r>
              <a:rPr lang="en-US" sz="4000" dirty="0">
                <a:solidFill>
                  <a:srgbClr val="3366FF"/>
                </a:solidFill>
                <a:effectLst/>
                <a:latin typeface="Times New Roman" panose="02020603050405020304" pitchFamily="18" charset="0"/>
                <a:ea typeface="Palatino Linotype" panose="02040502050505030304" pitchFamily="18" charset="0"/>
              </a:rPr>
              <a:t>in forecasting solar irradiance</a:t>
            </a:r>
            <a:br>
              <a:rPr lang="en-GB" dirty="0"/>
            </a:br>
            <a:endParaRPr lang="en-GB" sz="66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6DA114-333B-A423-9D78-B36A4D3E81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876840"/>
            <a:ext cx="9144000" cy="1655762"/>
          </a:xfrm>
        </p:spPr>
        <p:txBody>
          <a:bodyPr>
            <a:normAutofit/>
          </a:bodyPr>
          <a:lstStyle/>
          <a:p>
            <a:r>
              <a:rPr lang="en-GB" sz="2000" dirty="0"/>
              <a:t>Chen Guo Hao Alvin</a:t>
            </a:r>
          </a:p>
          <a:p>
            <a:r>
              <a:rPr lang="en-GB" sz="2000" dirty="0"/>
              <a:t>N1981071</a:t>
            </a:r>
          </a:p>
          <a:p>
            <a:r>
              <a:rPr lang="en-GB" sz="2000" dirty="0"/>
              <a:t>Presentation date: 190922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CE70C62-CDC0-8F1B-04DD-1D47A244D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9F3954-187E-8613-4E85-EACADF17E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B40483-509A-49AC-9A06-C93ACD4C9C43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25088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3D8AD50-E152-DA3F-73AA-4456E9768F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3219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383529-8408-4104-9AA6-78B378000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0</a:t>
            </a:fld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ACE0B57-8C7C-0B5A-94CB-DE11F3E478D9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3C89141E-2086-FDEA-D3AA-68B19D50C414}"/>
              </a:ext>
            </a:extLst>
          </p:cNvPr>
          <p:cNvSpPr txBox="1">
            <a:spLocks/>
          </p:cNvSpPr>
          <p:nvPr/>
        </p:nvSpPr>
        <p:spPr>
          <a:xfrm>
            <a:off x="838200" y="375173"/>
            <a:ext cx="10515600" cy="4883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/>
              <a:t>Deployment proces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F21F0C-DB7D-32E6-CE5D-5AD4ED5F8175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394C4C9-EDB9-94FF-5807-6A00A510A88D}"/>
              </a:ext>
            </a:extLst>
          </p:cNvPr>
          <p:cNvSpPr/>
          <p:nvPr/>
        </p:nvSpPr>
        <p:spPr>
          <a:xfrm>
            <a:off x="718458" y="3064711"/>
            <a:ext cx="1645920" cy="9492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olar developer identifying possible sit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8E7378-7440-AA66-B26D-44753C4957A9}"/>
              </a:ext>
            </a:extLst>
          </p:cNvPr>
          <p:cNvSpPr/>
          <p:nvPr/>
        </p:nvSpPr>
        <p:spPr>
          <a:xfrm>
            <a:off x="2995749" y="3064711"/>
            <a:ext cx="1645920" cy="9492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ata collection from NASA Pow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C6F71BC-C368-775F-09E0-C3A91DDD8B16}"/>
              </a:ext>
            </a:extLst>
          </p:cNvPr>
          <p:cNvSpPr/>
          <p:nvPr/>
        </p:nvSpPr>
        <p:spPr>
          <a:xfrm>
            <a:off x="5273040" y="3064711"/>
            <a:ext cx="1645920" cy="9492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Input on LSTM Model and get forecas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B570C38-6300-3003-D218-101872A62F70}"/>
              </a:ext>
            </a:extLst>
          </p:cNvPr>
          <p:cNvSpPr/>
          <p:nvPr/>
        </p:nvSpPr>
        <p:spPr>
          <a:xfrm>
            <a:off x="7550331" y="3064711"/>
            <a:ext cx="1645920" cy="9492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alculate generation potenti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401534-D788-4810-C040-A0D4A5F94091}"/>
              </a:ext>
            </a:extLst>
          </p:cNvPr>
          <p:cNvSpPr/>
          <p:nvPr/>
        </p:nvSpPr>
        <p:spPr>
          <a:xfrm>
            <a:off x="9962605" y="3059668"/>
            <a:ext cx="1645920" cy="9492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Make investment decision</a:t>
            </a: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FB27A5C8-713C-768F-75D2-6D4526805BC0}"/>
              </a:ext>
            </a:extLst>
          </p:cNvPr>
          <p:cNvSpPr/>
          <p:nvPr/>
        </p:nvSpPr>
        <p:spPr>
          <a:xfrm rot="16200000">
            <a:off x="2518955" y="3288956"/>
            <a:ext cx="322217" cy="50074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42A8A9B0-3422-3BCD-892B-84691DF7637B}"/>
              </a:ext>
            </a:extLst>
          </p:cNvPr>
          <p:cNvSpPr/>
          <p:nvPr/>
        </p:nvSpPr>
        <p:spPr>
          <a:xfrm rot="16200000">
            <a:off x="4800601" y="3288955"/>
            <a:ext cx="322217" cy="50074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Arrow: Down 22">
            <a:extLst>
              <a:ext uri="{FF2B5EF4-FFF2-40B4-BE49-F238E27FC236}">
                <a16:creationId xmlns:a16="http://schemas.microsoft.com/office/drawing/2014/main" id="{B7F81666-A673-332D-6BA9-132200F27F1C}"/>
              </a:ext>
            </a:extLst>
          </p:cNvPr>
          <p:cNvSpPr/>
          <p:nvPr/>
        </p:nvSpPr>
        <p:spPr>
          <a:xfrm rot="16200000">
            <a:off x="7069182" y="3288954"/>
            <a:ext cx="322217" cy="50074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8E4D8EFB-E27E-2E22-2CF1-F6481C751959}"/>
              </a:ext>
            </a:extLst>
          </p:cNvPr>
          <p:cNvSpPr/>
          <p:nvPr/>
        </p:nvSpPr>
        <p:spPr>
          <a:xfrm rot="16200000">
            <a:off x="9376953" y="3313796"/>
            <a:ext cx="322217" cy="50074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Graphic 25" descr="Blueprint with solid fill">
            <a:extLst>
              <a:ext uri="{FF2B5EF4-FFF2-40B4-BE49-F238E27FC236}">
                <a16:creationId xmlns:a16="http://schemas.microsoft.com/office/drawing/2014/main" id="{411C5D22-07E6-9D58-003A-76581789D9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4218" y="2017231"/>
            <a:ext cx="914400" cy="914400"/>
          </a:xfrm>
          <a:prstGeom prst="rect">
            <a:avLst/>
          </a:prstGeom>
        </p:spPr>
      </p:pic>
      <p:pic>
        <p:nvPicPr>
          <p:cNvPr id="28" name="Graphic 27" descr="Earth globe: Americas with solid fill">
            <a:extLst>
              <a:ext uri="{FF2B5EF4-FFF2-40B4-BE49-F238E27FC236}">
                <a16:creationId xmlns:a16="http://schemas.microsoft.com/office/drawing/2014/main" id="{CB139FD7-DF37-7F95-4F1E-82612DB8599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61509" y="2017231"/>
            <a:ext cx="914400" cy="914400"/>
          </a:xfrm>
          <a:prstGeom prst="rect">
            <a:avLst/>
          </a:prstGeom>
        </p:spPr>
      </p:pic>
      <p:pic>
        <p:nvPicPr>
          <p:cNvPr id="32" name="Graphic 31" descr="Artificial Intelligence with solid fill">
            <a:extLst>
              <a:ext uri="{FF2B5EF4-FFF2-40B4-BE49-F238E27FC236}">
                <a16:creationId xmlns:a16="http://schemas.microsoft.com/office/drawing/2014/main" id="{74E0292D-8C8B-41C6-B48E-2CE9EB9D292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8800" y="1994103"/>
            <a:ext cx="914400" cy="914400"/>
          </a:xfrm>
          <a:prstGeom prst="rect">
            <a:avLst/>
          </a:prstGeom>
        </p:spPr>
      </p:pic>
      <p:pic>
        <p:nvPicPr>
          <p:cNvPr id="34" name="Graphic 33" descr="Solar Panels with solid fill">
            <a:extLst>
              <a:ext uri="{FF2B5EF4-FFF2-40B4-BE49-F238E27FC236}">
                <a16:creationId xmlns:a16="http://schemas.microsoft.com/office/drawing/2014/main" id="{B22BB03F-5B81-CFDC-6ACB-400D79BF0A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09244" y="1991420"/>
            <a:ext cx="914400" cy="914400"/>
          </a:xfrm>
          <a:prstGeom prst="rect">
            <a:avLst/>
          </a:prstGeom>
        </p:spPr>
      </p:pic>
      <p:pic>
        <p:nvPicPr>
          <p:cNvPr id="36" name="Graphic 35" descr="Decision chart with solid fill">
            <a:extLst>
              <a:ext uri="{FF2B5EF4-FFF2-40B4-BE49-F238E27FC236}">
                <a16:creationId xmlns:a16="http://schemas.microsoft.com/office/drawing/2014/main" id="{908D9B9C-D506-2879-6BC6-624675DEF79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328365" y="2017231"/>
            <a:ext cx="914400" cy="914400"/>
          </a:xfrm>
          <a:prstGeom prst="rect">
            <a:avLst/>
          </a:prstGeom>
        </p:spPr>
      </p:pic>
      <p:sp>
        <p:nvSpPr>
          <p:cNvPr id="37" name="Arrow: Down 36">
            <a:extLst>
              <a:ext uri="{FF2B5EF4-FFF2-40B4-BE49-F238E27FC236}">
                <a16:creationId xmlns:a16="http://schemas.microsoft.com/office/drawing/2014/main" id="{C9BB0986-7960-2AFB-9131-A4EE88613E25}"/>
              </a:ext>
            </a:extLst>
          </p:cNvPr>
          <p:cNvSpPr/>
          <p:nvPr/>
        </p:nvSpPr>
        <p:spPr>
          <a:xfrm rot="10800000">
            <a:off x="5934891" y="4100838"/>
            <a:ext cx="322217" cy="36933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A49E6294-7DA3-416E-F220-2A358E042B00}"/>
              </a:ext>
            </a:extLst>
          </p:cNvPr>
          <p:cNvSpPr/>
          <p:nvPr/>
        </p:nvSpPr>
        <p:spPr>
          <a:xfrm>
            <a:off x="5447713" y="4557061"/>
            <a:ext cx="1296574" cy="9119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eploy model</a:t>
            </a:r>
          </a:p>
        </p:txBody>
      </p:sp>
      <p:sp>
        <p:nvSpPr>
          <p:cNvPr id="40" name="Arrow: Down 39">
            <a:extLst>
              <a:ext uri="{FF2B5EF4-FFF2-40B4-BE49-F238E27FC236}">
                <a16:creationId xmlns:a16="http://schemas.microsoft.com/office/drawing/2014/main" id="{14BD70A7-6870-990E-5A95-8A043A678FE6}"/>
              </a:ext>
            </a:extLst>
          </p:cNvPr>
          <p:cNvSpPr/>
          <p:nvPr/>
        </p:nvSpPr>
        <p:spPr>
          <a:xfrm rot="10800000">
            <a:off x="8227927" y="4100838"/>
            <a:ext cx="322217" cy="36933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7771A36-F52F-BDBB-D675-2648D8BCBBE6}"/>
              </a:ext>
            </a:extLst>
          </p:cNvPr>
          <p:cNvSpPr/>
          <p:nvPr/>
        </p:nvSpPr>
        <p:spPr>
          <a:xfrm>
            <a:off x="7740748" y="4557061"/>
            <a:ext cx="1296573" cy="9119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rea of  Solar panel</a:t>
            </a:r>
          </a:p>
        </p:txBody>
      </p:sp>
      <p:sp>
        <p:nvSpPr>
          <p:cNvPr id="42" name="Arrow: Down 41">
            <a:extLst>
              <a:ext uri="{FF2B5EF4-FFF2-40B4-BE49-F238E27FC236}">
                <a16:creationId xmlns:a16="http://schemas.microsoft.com/office/drawing/2014/main" id="{06731E3F-2899-A9D5-EFDB-C1E93509DA89}"/>
              </a:ext>
            </a:extLst>
          </p:cNvPr>
          <p:cNvSpPr/>
          <p:nvPr/>
        </p:nvSpPr>
        <p:spPr>
          <a:xfrm rot="10800000">
            <a:off x="3707839" y="4100838"/>
            <a:ext cx="322217" cy="36933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615178C-33EB-EFA1-A889-2CF6AE741647}"/>
              </a:ext>
            </a:extLst>
          </p:cNvPr>
          <p:cNvSpPr/>
          <p:nvPr/>
        </p:nvSpPr>
        <p:spPr>
          <a:xfrm>
            <a:off x="3158443" y="4557061"/>
            <a:ext cx="1421008" cy="91191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ite location</a:t>
            </a:r>
          </a:p>
        </p:txBody>
      </p:sp>
    </p:spTree>
    <p:extLst>
      <p:ext uri="{BB962C8B-B14F-4D97-AF65-F5344CB8AC3E}">
        <p14:creationId xmlns:p14="http://schemas.microsoft.com/office/powerpoint/2010/main" val="31834960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3D8AD50-E152-DA3F-73AA-4456E9768F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3D8AD50-E152-DA3F-73AA-4456E9768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C3091C73-89A6-5A0C-B8DB-DE6392DEAD37}"/>
              </a:ext>
            </a:extLst>
          </p:cNvPr>
          <p:cNvSpPr txBox="1"/>
          <p:nvPr/>
        </p:nvSpPr>
        <p:spPr>
          <a:xfrm>
            <a:off x="4416387" y="4037449"/>
            <a:ext cx="284535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1" indent="0" algn="ctr">
              <a:buNone/>
            </a:pPr>
            <a:r>
              <a:rPr lang="en-SG" sz="2000" dirty="0"/>
              <a:t>Satellite-based </a:t>
            </a:r>
          </a:p>
          <a:p>
            <a:pPr marL="457200" lvl="1" indent="0" algn="ctr">
              <a:buNone/>
            </a:pPr>
            <a:r>
              <a:rPr lang="en-SG" sz="2000" dirty="0"/>
              <a:t>data inpu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8BCDB0-7D2D-0876-8E10-30E0EB53EE7E}"/>
              </a:ext>
            </a:extLst>
          </p:cNvPr>
          <p:cNvSpPr txBox="1"/>
          <p:nvPr/>
        </p:nvSpPr>
        <p:spPr>
          <a:xfrm>
            <a:off x="7834293" y="4037449"/>
            <a:ext cx="280097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1" indent="0" algn="ctr">
              <a:buNone/>
            </a:pPr>
            <a:r>
              <a:rPr lang="en-SG" sz="2000" dirty="0"/>
              <a:t>Hourly-based forecasting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B1EE56-FEFF-48FC-BF2A-309B425658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35416" y="2061309"/>
            <a:ext cx="3143880" cy="365125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SG" sz="2000" b="1" dirty="0"/>
              <a:t>Further areas of stud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383529-8408-4104-9AA6-78B378000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1</a:t>
            </a:fld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ACE0B57-8C7C-0B5A-94CB-DE11F3E478D9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3C89141E-2086-FDEA-D3AA-68B19D50C414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4883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/>
              <a:t>Conclusion and Future researc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F21F0C-DB7D-32E6-CE5D-5AD4ED5F8175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pic>
        <p:nvPicPr>
          <p:cNvPr id="8" name="Graphic 7" descr="Stopwatch with solid fill">
            <a:extLst>
              <a:ext uri="{FF2B5EF4-FFF2-40B4-BE49-F238E27FC236}">
                <a16:creationId xmlns:a16="http://schemas.microsoft.com/office/drawing/2014/main" id="{320183F5-EAB5-1689-A4E8-60BD67CB4D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21126" y="2703286"/>
            <a:ext cx="1207476" cy="120747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9FE5622-2093-725E-D66C-A26505738931}"/>
              </a:ext>
            </a:extLst>
          </p:cNvPr>
          <p:cNvSpPr txBox="1"/>
          <p:nvPr/>
        </p:nvSpPr>
        <p:spPr>
          <a:xfrm>
            <a:off x="1064637" y="3729672"/>
            <a:ext cx="324896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1" indent="0" algn="ctr">
              <a:buNone/>
            </a:pPr>
            <a:endParaRPr lang="en-SG" sz="2000" dirty="0"/>
          </a:p>
          <a:p>
            <a:pPr marL="457200" lvl="1" indent="0" algn="ctr">
              <a:buNone/>
            </a:pPr>
            <a:r>
              <a:rPr lang="en-SG" sz="2000" dirty="0"/>
              <a:t>Economic models to test algorithm reliability </a:t>
            </a:r>
          </a:p>
        </p:txBody>
      </p:sp>
      <p:pic>
        <p:nvPicPr>
          <p:cNvPr id="13" name="Graphic 12" descr="Solar Panels with solid fill">
            <a:extLst>
              <a:ext uri="{FF2B5EF4-FFF2-40B4-BE49-F238E27FC236}">
                <a16:creationId xmlns:a16="http://schemas.microsoft.com/office/drawing/2014/main" id="{94253DA3-D1F6-0D2D-E276-6C9BD233D5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07280" y="2703285"/>
            <a:ext cx="1113693" cy="1113693"/>
          </a:xfrm>
          <a:prstGeom prst="rect">
            <a:avLst/>
          </a:prstGeom>
        </p:spPr>
      </p:pic>
      <p:pic>
        <p:nvPicPr>
          <p:cNvPr id="10" name="Graphic 9" descr="Satellite with solid fill">
            <a:extLst>
              <a:ext uri="{FF2B5EF4-FFF2-40B4-BE49-F238E27FC236}">
                <a16:creationId xmlns:a16="http://schemas.microsoft.com/office/drawing/2014/main" id="{AC230D68-3B6D-8FBB-B8CB-3A894FDDAE4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36071" y="295679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4585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50B003-7AD8-C324-DF06-4E82C91C98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065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71B94E-4DEC-FAB8-408F-3B69AE91B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237" y="2668247"/>
            <a:ext cx="8896247" cy="1325563"/>
          </a:xfrm>
        </p:spPr>
        <p:txBody>
          <a:bodyPr vert="horz">
            <a:normAutofit/>
          </a:bodyPr>
          <a:lstStyle/>
          <a:p>
            <a:r>
              <a:rPr lang="en-GB" b="1" dirty="0">
                <a:solidFill>
                  <a:srgbClr val="008FD5"/>
                </a:solidFill>
              </a:rPr>
              <a:t>Thank you </a:t>
            </a:r>
            <a:br>
              <a:rPr lang="en-GB" dirty="0"/>
            </a:br>
            <a:r>
              <a:rPr lang="en-GB" dirty="0"/>
              <a:t>For your kind atten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2CE58D-677F-8456-5503-32022B073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2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E691069-95F2-E0D9-22BD-FCE0DE587223}"/>
              </a:ext>
            </a:extLst>
          </p:cNvPr>
          <p:cNvSpPr/>
          <p:nvPr/>
        </p:nvSpPr>
        <p:spPr>
          <a:xfrm>
            <a:off x="773723" y="2411605"/>
            <a:ext cx="522514" cy="1838848"/>
          </a:xfrm>
          <a:prstGeom prst="rect">
            <a:avLst/>
          </a:prstGeom>
          <a:solidFill>
            <a:srgbClr val="008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54809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3D8AD50-E152-DA3F-73AA-4456E9768F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3D8AD50-E152-DA3F-73AA-4456E9768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B1EE56-FEFF-48FC-BF2A-309B425658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586" y="1104234"/>
            <a:ext cx="11878829" cy="5125744"/>
          </a:xfrm>
        </p:spPr>
        <p:txBody>
          <a:bodyPr>
            <a:normAutofit fontScale="55000" lnSpcReduction="20000"/>
          </a:bodyPr>
          <a:lstStyle/>
          <a:p>
            <a:pPr marL="0" indent="0">
              <a:lnSpc>
                <a:spcPct val="200000"/>
              </a:lnSpc>
              <a:buNone/>
            </a:pP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lsharif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M., Younes, M., &amp; Kim, J. (2019). Time Series ARIMA Model for Prediction of Daily and Monthly Average Global Solar Radiation: The Case Study of Seoul, South Korea. Symmetry, 11(2), 240. doi:10.3390/sym11020240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lak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I.,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Yesilbudak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M.,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Genc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N., &amp;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ayindir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R. (2015). Multi-period Prediction of Solar Radiation Using ARMA and ARIMA Models. 2015 IEEE 14th International Conference on Machine Learning and Applications (ICMLA). doi:10.1109/icmla.2015.33 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iagne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M., David, M.,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Lauret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P., Boland, J., &amp; Schmutz, N. (2013). Review of solar irradiance forecasting methods and a proposition for small-scale insular grids. Renewable and Sustainable Energy Reviews, 27, 65–76. doi:10.1016/j.rser.2013.06.042 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Fathima, T. A.,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edumpozhimana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V., Lee, Y. H., Winkler, S., &amp; Dev, S. (2019). Predicting Solar Irradiance in Singapore. 2019 Photonics &amp; Electromagnetics Research Symposium - Fall (PIERS - Fall). doi:10.1109/piers-fall48861.2019.9021313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DB (2021).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olarNova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Programme. Retrieved July 25th, 2022, from: https://www.hdb.gov.sg/about-us/our-role/smart-and-sustainable-living/solarnova-page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Ihshaish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H.,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rt́es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A., &amp;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enar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M. A. (2012). Towards Improving Numerical Weather Predictions by Evolutionary Computing Techniques. Procedia Computer Science, 9, 1056–1063. doi:10.1016/j.procs.2012.04.114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IPCC. (2022). Summary for Policy Makers. Retrieved July 25th, 2022, from: https://www.ipcc.ch/report/ar6/wg2/downloads/report/IPCC_AR6_WGII_SummaryForPolicymakers.pdf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IRENA. (2020). ADVANCED FORECASTING OF VARIABLE RENEWABLE POWER GENERATION. Retrieved July 25th, 2022, from: https://www.irena.org/-/media/Files/IRENA/Agency/Publication/2020/Jul/IRENA_Advanced_weather_forecasting_2020.pdf%20?%20%20la=en&amp;hash=8384431B56569C0D8786C9A4FDD56864443D10AF</a:t>
            </a:r>
          </a:p>
          <a:p>
            <a:pPr marL="0" indent="0">
              <a:lnSpc>
                <a:spcPct val="200000"/>
              </a:lnSpc>
              <a:buNone/>
            </a:pPr>
            <a:endParaRPr lang="en-SG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383529-8408-4104-9AA6-78B378000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3</a:t>
            </a:fld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ACE0B57-8C7C-0B5A-94CB-DE11F3E478D9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3C89141E-2086-FDEA-D3AA-68B19D50C414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4883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/>
              <a:t>Referen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F21F0C-DB7D-32E6-CE5D-5AD4ED5F8175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18170067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3D8AD50-E152-DA3F-73AA-4456E9768F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3D8AD50-E152-DA3F-73AA-4456E9768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B1EE56-FEFF-48FC-BF2A-309B425658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586" y="1104234"/>
            <a:ext cx="11878829" cy="4734071"/>
          </a:xfrm>
        </p:spPr>
        <p:txBody>
          <a:bodyPr>
            <a:normAutofit fontScale="55000" lnSpcReduction="20000"/>
          </a:bodyPr>
          <a:lstStyle/>
          <a:p>
            <a:pPr marL="0" indent="0">
              <a:lnSpc>
                <a:spcPct val="200000"/>
              </a:lnSpc>
              <a:buNone/>
            </a:pP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Manoj Kumar, N., &amp;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ubathra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M. S. P. (2019). Three years ahead solar irradiance forecasting to quantify degradation influenced energy potentials from thin film (a-Si) photovoltaic system. Results in Physics, 12, 701–703. doi:10.1016/j.rinp.2018.12.027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ASA. (2021). The POWER Project. Retrieved July 25th, 2022, from: https://power.larc.nasa.gov/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CCS. (2022). SINGAPORE’S APPROACH TO ALTERNATIVE ENERGY. Retrieved July 25th, 2022, from: https://www.nccs.gov.sg/singapores-climate-action/singapore-approach-to-alternative-energy/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Oh, T. (2022). Government considering more initiatives to push solar energy adoption in Singapore. The Business Times. Retrieved July 25th, 2022, from: https://www.businesstimes.com.sg/government-economy/government-considering-more-initiatives-to-push-solar-energy-adoption-in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Ouma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Y. O.,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heruyot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R., &amp;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Wachera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A. N. (2021). Rainfall and runoff time-series trend analysis using LSTM recurrent neural network and wavelet neural network with satellite-based meteorological data: case study of </a:t>
            </a: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zoia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hydrologic basin. Complex &amp; Intelligent Systems. doi:10.1007/s40747-021-00365-2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arasyris</a:t>
            </a:r>
            <a:r>
              <a:rPr lang="en-SG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A., </a:t>
            </a:r>
            <a:r>
              <a:rPr lang="en-SG" sz="2000" dirty="0" err="1">
                <a:latin typeface="Times New Roman" panose="02020603050405020304" pitchFamily="18" charset="0"/>
              </a:rPr>
              <a:t>Alexandrakis</a:t>
            </a:r>
            <a:r>
              <a:rPr lang="en-SG" sz="2000" dirty="0">
                <a:latin typeface="Times New Roman" panose="02020603050405020304" pitchFamily="18" charset="0"/>
              </a:rPr>
              <a:t>, G., </a:t>
            </a:r>
            <a:r>
              <a:rPr lang="en-SG" sz="2000" dirty="0" err="1">
                <a:latin typeface="Times New Roman" panose="02020603050405020304" pitchFamily="18" charset="0"/>
              </a:rPr>
              <a:t>Kozyrakis</a:t>
            </a:r>
            <a:r>
              <a:rPr lang="en-SG" sz="2000" dirty="0">
                <a:latin typeface="Times New Roman" panose="02020603050405020304" pitchFamily="18" charset="0"/>
              </a:rPr>
              <a:t>, G., &amp; </a:t>
            </a:r>
            <a:r>
              <a:rPr lang="en-SG" sz="2000" dirty="0" err="1">
                <a:latin typeface="Times New Roman" panose="02020603050405020304" pitchFamily="18" charset="0"/>
              </a:rPr>
              <a:t>Spanoudaki</a:t>
            </a:r>
            <a:r>
              <a:rPr lang="en-SG" sz="2000" dirty="0">
                <a:latin typeface="Times New Roman" panose="02020603050405020304" pitchFamily="18" charset="0"/>
              </a:rPr>
              <a:t>, K. (2022). Predicting Meteorological Variables on Local Level with SARIMA, LSTM and Hybrid Techniques. Atmosphere, 13(878), doi:10.3390/atmos13060878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2000" dirty="0">
                <a:latin typeface="Times New Roman" panose="02020603050405020304" pitchFamily="18" charset="0"/>
              </a:rPr>
              <a:t>Qing, X., &amp; </a:t>
            </a:r>
            <a:r>
              <a:rPr lang="en-SG" sz="2000" dirty="0" err="1">
                <a:latin typeface="Times New Roman" panose="02020603050405020304" pitchFamily="18" charset="0"/>
              </a:rPr>
              <a:t>Niu</a:t>
            </a:r>
            <a:r>
              <a:rPr lang="en-SG" sz="2000" dirty="0">
                <a:latin typeface="Times New Roman" panose="02020603050405020304" pitchFamily="18" charset="0"/>
              </a:rPr>
              <a:t>, Y. (2018). Hourly day-ahead solar irradiance prediction using weather forecasts by LSTM. Energy, 148, 461–468. doi:10.1016/j.energy.2018.01.177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SG" sz="2000" dirty="0">
                <a:latin typeface="Times New Roman" panose="02020603050405020304" pitchFamily="18" charset="0"/>
              </a:rPr>
              <a:t>Rana, M., Atef, M., Sarkar, R., &amp; Uddin, M. (2022). A Review on Peak Load Shaving in Microgrid—Potential Benefits, Challenges, and Future Trend. Energies, 15(6):2278, doi:10.3390/en15062278</a:t>
            </a:r>
          </a:p>
          <a:p>
            <a:pPr marL="0" indent="0">
              <a:lnSpc>
                <a:spcPct val="200000"/>
              </a:lnSpc>
              <a:buNone/>
            </a:pPr>
            <a:endParaRPr lang="en-SG" sz="20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200000"/>
              </a:lnSpc>
              <a:buNone/>
            </a:pPr>
            <a:endParaRPr lang="en-SG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383529-8408-4104-9AA6-78B378000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4</a:t>
            </a:fld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ACE0B57-8C7C-0B5A-94CB-DE11F3E478D9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3C89141E-2086-FDEA-D3AA-68B19D50C414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4883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/>
              <a:t>Referen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F21F0C-DB7D-32E6-CE5D-5AD4ED5F8175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42876992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3D8AD50-E152-DA3F-73AA-4456E9768F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3D8AD50-E152-DA3F-73AA-4456E9768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383529-8408-4104-9AA6-78B378000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5</a:t>
            </a:fld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ACE0B57-8C7C-0B5A-94CB-DE11F3E478D9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3C89141E-2086-FDEA-D3AA-68B19D50C414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4883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/>
              <a:t>Referen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F21F0C-DB7D-32E6-CE5D-5AD4ED5F8175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9C331A-F8FE-9184-DF59-E4A96DB6C9E1}"/>
              </a:ext>
            </a:extLst>
          </p:cNvPr>
          <p:cNvSpPr txBox="1"/>
          <p:nvPr/>
        </p:nvSpPr>
        <p:spPr>
          <a:xfrm>
            <a:off x="156585" y="738203"/>
            <a:ext cx="11878830" cy="6200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Reikard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G. (2009). Predicting solar radiation at high resolutions: A comparison of time series forecasts. Solar Energy, 83(3), 342–349. doi:10.1016/j.solener.2008.08.007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ayago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S.,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Ovando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G.,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lmorox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J., &amp;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occo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M. (2019). Daily solar radiation from NASA-POWER product: assessing its accuracy considering atmospheric transparency. International Journal of Remote Sensing, 1–14. doi:10.1080/01431161.2019.1650986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hadab, A., Ahmad, S., &amp; Said, S. (2020). Spatial forecasting of solar radiation using ARIMA model. Remote Sensing Applications: Society and Environment, 20, 100427. doi:10.1016/j.rsase.2020.100427 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hamim, M. A.,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Remesan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R., Bray, M., &amp; Han, D. (2015). An improved technique for global solar radiation estimation using numerical weather prediction. Journal of Atmospheric and Solar-Terrestrial Physics, 129, 13–22. doi:10.1016/j.jastp.2015.03.011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harma, N., Sharma, P., Irwin, D., &amp; Shenoy, P. (2011). Predicting solar generation from weather forecasts using machine learning. 2011 IEEE International Conference on Smart Grid Communications (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martGridComm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). doi:10.1109/smartgridcomm.2011.61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harma, V., Yang, D., Walsh, W., &amp;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Reindl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T. (2016). Short term solar irradiance forecasting using a mixed wavelet neural network. Renewable Energy, 90, 481–492. doi:10.1016/j.renene.2016.01.020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iddiqui, T. A., Bharadwaj, S., &amp;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Kalyanaraman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S. (2019). A Deep Learning Approach to Solar-Irradiance Forecasting in Sky-Videos. 2019 IEEE Winter Conference on Applications of Computer Vision (WACV). doi:10.1109/wacv.2019.00234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1964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3D8AD50-E152-DA3F-73AA-4456E9768F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3D8AD50-E152-DA3F-73AA-4456E9768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383529-8408-4104-9AA6-78B378000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6</a:t>
            </a:fld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ACE0B57-8C7C-0B5A-94CB-DE11F3E478D9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3C89141E-2086-FDEA-D3AA-68B19D50C414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4883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/>
              <a:t>Referen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F21F0C-DB7D-32E6-CE5D-5AD4ED5F8175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9C331A-F8FE-9184-DF59-E4A96DB6C9E1}"/>
              </a:ext>
            </a:extLst>
          </p:cNvPr>
          <p:cNvSpPr txBox="1"/>
          <p:nvPr/>
        </p:nvSpPr>
        <p:spPr>
          <a:xfrm>
            <a:off x="275792" y="912431"/>
            <a:ext cx="11640416" cy="5277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sekulima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E. B., El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Moursi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M. S., Al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inai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A., &amp; Anwar, M. B. (2016). Wind speed and solar irradiance forecasting techniques for enhanced renewable energy integration with the grid: a review. IET Renewable Power Generation, 10(7), 885–989. doi:10.1049/iet-rpg.2015.0477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Vakitbilir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N.,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irekoglu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C., &amp;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ilal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A. (2021). Prediction of Daily Solar Irradiation Using CNN and LSTM Networks. ICAFS-2020, 230-238, doi:10.1007/978-3-030-64058-3_28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Verbois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H.,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uva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R.,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Rusydi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A., &amp; Walsh, W. (2018). Solar irradiance forecasting in the tropics using numerical weather prediction and statistical learning. Solar Energy, 162, 265–277. doi:10.1016/j.solener.2018.01.007 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Wang, W., Feng, J., &amp; Xu, F. (2021). Estimating Downward Shortwave Solar Radiation on Clear-Sky Days in Heterogeneous Surface Using LM-BP Neural Network. Energies, 14(2), 273. doi:10.3390/en14020273 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Yang, D.,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Kleissl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J.,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Gueymard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C. A., Pedro, H. T. C., &amp; Coimbra, C. F. M. (2018). History and trends in solar irradiance and PV power forecasting: A preliminary assessment and review using text mining. Solar Energy, 168, 60–101. doi:10.1016/j.solener.2017.11.023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Yu, Y., Cao, J., &amp; Zhu, J. (2019). An LSTM Short-Term Solar Irradiance Forecasting Under Complicated Weather Conditions. IEEE Access, 7, 145651–145666. doi:10.1109/access.2019.2946057</a:t>
            </a:r>
          </a:p>
          <a:p>
            <a:pPr>
              <a:lnSpc>
                <a:spcPct val="200000"/>
              </a:lnSpc>
            </a:pP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Zhang, Y., Yang, H., Cui, H., &amp; Chen, Q. (2019). Comparison of the Ability of ARIMA, WNN and SVM Models for Drought Forecasting in the </a:t>
            </a:r>
            <a:r>
              <a:rPr lang="en-SG" sz="1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anjiang</a:t>
            </a:r>
            <a:r>
              <a:rPr lang="en-SG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Plain, China. Natural Resources Research. doi:10.1007/s11053-019-09512-6</a:t>
            </a:r>
          </a:p>
          <a:p>
            <a:pPr>
              <a:lnSpc>
                <a:spcPct val="200000"/>
              </a:lnSpc>
            </a:pPr>
            <a:endParaRPr lang="en-SG" sz="1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6214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818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/>
          </a:bodyPr>
          <a:lstStyle/>
          <a:p>
            <a:r>
              <a:rPr lang="en-GB" sz="2400" dirty="0"/>
              <a:t>Project 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8479" y="1615851"/>
            <a:ext cx="8659728" cy="49664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dirty="0"/>
              <a:t>Business problem</a:t>
            </a:r>
          </a:p>
          <a:p>
            <a:pPr lvl="1"/>
            <a:r>
              <a:rPr lang="en-GB" sz="2000" dirty="0"/>
              <a:t>Singapore needs solar energy, but solar assets are challenged by intermittent generation</a:t>
            </a:r>
          </a:p>
          <a:p>
            <a:pPr marL="457200" lvl="1" indent="0">
              <a:buNone/>
            </a:pPr>
            <a:endParaRPr lang="en-GB" sz="2000" dirty="0"/>
          </a:p>
          <a:p>
            <a:pPr marL="457200" lvl="1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Business objective</a:t>
            </a:r>
          </a:p>
          <a:p>
            <a:pPr lvl="1"/>
            <a:r>
              <a:rPr lang="en-SG" sz="2000" dirty="0"/>
              <a:t>De-risk investment on solar assets</a:t>
            </a:r>
          </a:p>
          <a:p>
            <a:pPr lvl="1"/>
            <a:endParaRPr lang="en-SG" sz="2000" dirty="0"/>
          </a:p>
          <a:p>
            <a:pPr marL="457200" lvl="1" indent="0">
              <a:buNone/>
            </a:pPr>
            <a:endParaRPr lang="en-SG" sz="2000" dirty="0"/>
          </a:p>
          <a:p>
            <a:pPr marL="0" indent="0">
              <a:buNone/>
            </a:pPr>
            <a:r>
              <a:rPr lang="en-GB" sz="2000" dirty="0"/>
              <a:t>Data mining objective</a:t>
            </a:r>
          </a:p>
          <a:p>
            <a:pPr lvl="1"/>
            <a:r>
              <a:rPr lang="en-SG" sz="2000" dirty="0"/>
              <a:t>Identify the best model for forecasting annual solar irradiance using historical solar irradiance </a:t>
            </a:r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2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85860F5-83B4-45DA-AE0E-57B4EE1A458C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3AAD48D3-C627-CE91-6773-BF81E03C9A50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pic>
        <p:nvPicPr>
          <p:cNvPr id="14" name="Graphic 13" descr="Solar Panels with solid fill">
            <a:extLst>
              <a:ext uri="{FF2B5EF4-FFF2-40B4-BE49-F238E27FC236}">
                <a16:creationId xmlns:a16="http://schemas.microsoft.com/office/drawing/2014/main" id="{E919ECB3-E9FB-2854-DB58-58D92B6F67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6798" y="1428207"/>
            <a:ext cx="811681" cy="811681"/>
          </a:xfrm>
          <a:prstGeom prst="rect">
            <a:avLst/>
          </a:prstGeom>
        </p:spPr>
      </p:pic>
      <p:pic>
        <p:nvPicPr>
          <p:cNvPr id="16" name="Graphic 15" descr="Coins with solid fill">
            <a:extLst>
              <a:ext uri="{FF2B5EF4-FFF2-40B4-BE49-F238E27FC236}">
                <a16:creationId xmlns:a16="http://schemas.microsoft.com/office/drawing/2014/main" id="{B40ED77C-9093-3130-2C61-A5873DF4133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6797" y="2969007"/>
            <a:ext cx="811682" cy="811682"/>
          </a:xfrm>
          <a:prstGeom prst="rect">
            <a:avLst/>
          </a:prstGeom>
        </p:spPr>
      </p:pic>
      <p:pic>
        <p:nvPicPr>
          <p:cNvPr id="18" name="Graphic 17" descr="Partial sun with solid fill">
            <a:extLst>
              <a:ext uri="{FF2B5EF4-FFF2-40B4-BE49-F238E27FC236}">
                <a16:creationId xmlns:a16="http://schemas.microsoft.com/office/drawing/2014/main" id="{16144137-7513-14C5-E701-46763CEBAF0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23950" y="4543782"/>
            <a:ext cx="834529" cy="83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1520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199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/>
          </a:bodyPr>
          <a:lstStyle/>
          <a:p>
            <a:r>
              <a:rPr lang="en-GB" sz="2400" dirty="0"/>
              <a:t>Gaps in literature re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5341873"/>
            <a:ext cx="10515600" cy="1045029"/>
          </a:xfrm>
        </p:spPr>
        <p:txBody>
          <a:bodyPr>
            <a:normAutofit/>
          </a:bodyPr>
          <a:lstStyle/>
          <a:p>
            <a:r>
              <a:rPr lang="en-GB" sz="2000" dirty="0"/>
              <a:t>No direct comparison between linear and non-linear performance for irradiance</a:t>
            </a:r>
          </a:p>
          <a:p>
            <a:r>
              <a:rPr lang="en-GB" sz="2000" dirty="0"/>
              <a:t>Hence we compare SARIMA (best linear) and LSTM (best non-linea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47647"/>
            <a:ext cx="2743200" cy="365125"/>
          </a:xfrm>
        </p:spPr>
        <p:txBody>
          <a:bodyPr/>
          <a:lstStyle/>
          <a:p>
            <a:fld id="{EA47C1C1-E03C-4710-B8F6-102B1D3AFD6F}" type="slidenum">
              <a:rPr lang="en-GB" smtClean="0"/>
              <a:t>3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21F9D48-B3F1-EEA9-6455-FB7BD1F6C339}"/>
              </a:ext>
            </a:extLst>
          </p:cNvPr>
          <p:cNvSpPr/>
          <p:nvPr/>
        </p:nvSpPr>
        <p:spPr>
          <a:xfrm>
            <a:off x="661850" y="1540230"/>
            <a:ext cx="3126377" cy="333973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2000" dirty="0"/>
              <a:t>Numerical weather prediction models </a:t>
            </a:r>
          </a:p>
          <a:p>
            <a:r>
              <a:rPr lang="en-GB" sz="2000" dirty="0"/>
              <a:t>(forecast period too short hence out of scope)</a:t>
            </a:r>
          </a:p>
          <a:p>
            <a:endParaRPr lang="en-GB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WR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GF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/>
          </a:p>
          <a:p>
            <a:endParaRPr lang="en-GB" sz="2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C3CF06-8583-1D05-01F4-99DCD6FED7CD}"/>
              </a:ext>
            </a:extLst>
          </p:cNvPr>
          <p:cNvSpPr/>
          <p:nvPr/>
        </p:nvSpPr>
        <p:spPr>
          <a:xfrm>
            <a:off x="4484098" y="1546685"/>
            <a:ext cx="3239589" cy="33397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2000" dirty="0"/>
              <a:t>Linear models</a:t>
            </a:r>
          </a:p>
          <a:p>
            <a:endParaRPr lang="en-GB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/>
              <a:t>SARIMA by </a:t>
            </a:r>
            <a:r>
              <a:rPr lang="en-GB" sz="2000" b="1" dirty="0" err="1"/>
              <a:t>Alsharif</a:t>
            </a:r>
            <a:r>
              <a:rPr lang="en-GB" sz="2000" b="1" dirty="0"/>
              <a:t> et al. (2019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ARI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Triple Exponential Smoot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Linear 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116C2D-9AD4-50ED-679F-DB78C0FED309}"/>
              </a:ext>
            </a:extLst>
          </p:cNvPr>
          <p:cNvSpPr/>
          <p:nvPr/>
        </p:nvSpPr>
        <p:spPr>
          <a:xfrm>
            <a:off x="7918246" y="1540105"/>
            <a:ext cx="3719572" cy="33397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2000" dirty="0"/>
              <a:t>Non-linear models</a:t>
            </a:r>
          </a:p>
          <a:p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/>
              <a:t>LSTM by Qing &amp; </a:t>
            </a:r>
            <a:r>
              <a:rPr lang="en-GB" sz="2000" b="1" dirty="0" err="1"/>
              <a:t>Niu</a:t>
            </a:r>
            <a:r>
              <a:rPr lang="en-GB" sz="2000" b="1" dirty="0"/>
              <a:t> (2018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ANN – Artificial neural network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WNN – Wavelet neural networ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CNN – For satellite imager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BB51BE-C1E8-7DDF-A5C6-95419DB77A86}"/>
              </a:ext>
            </a:extLst>
          </p:cNvPr>
          <p:cNvSpPr/>
          <p:nvPr/>
        </p:nvSpPr>
        <p:spPr>
          <a:xfrm>
            <a:off x="4180114" y="1175655"/>
            <a:ext cx="7585166" cy="383177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b="1" dirty="0">
                <a:solidFill>
                  <a:schemeClr val="tx1"/>
                </a:solidFill>
              </a:rPr>
              <a:t>                                                        Area of focu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B81724-1F67-4128-ACF1-8BA9CD0BF9F4}"/>
              </a:ext>
            </a:extLst>
          </p:cNvPr>
          <p:cNvSpPr/>
          <p:nvPr/>
        </p:nvSpPr>
        <p:spPr>
          <a:xfrm>
            <a:off x="426719" y="1170885"/>
            <a:ext cx="3596641" cy="383177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b="1" dirty="0">
                <a:solidFill>
                  <a:schemeClr val="tx1"/>
                </a:solidFill>
              </a:rPr>
              <a:t>Out of scop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E1076DF-F51D-9E6C-0204-12CAA79643B4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FEDAC5F-64CC-4792-E787-CBC2EA1AA9C7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pic>
        <p:nvPicPr>
          <p:cNvPr id="17" name="Graphic 16" descr="Crown with solid fill">
            <a:extLst>
              <a:ext uri="{FF2B5EF4-FFF2-40B4-BE49-F238E27FC236}">
                <a16:creationId xmlns:a16="http://schemas.microsoft.com/office/drawing/2014/main" id="{F175A1F7-AC63-B6AB-D59A-BE2B68BC3E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69444" y="2154798"/>
            <a:ext cx="382017" cy="382017"/>
          </a:xfrm>
          <a:prstGeom prst="rect">
            <a:avLst/>
          </a:prstGeom>
        </p:spPr>
      </p:pic>
      <p:pic>
        <p:nvPicPr>
          <p:cNvPr id="18" name="Graphic 17" descr="Crown with solid fill">
            <a:extLst>
              <a:ext uri="{FF2B5EF4-FFF2-40B4-BE49-F238E27FC236}">
                <a16:creationId xmlns:a16="http://schemas.microsoft.com/office/drawing/2014/main" id="{7F7AC84E-D39A-AB2F-BCD9-36722F2CB8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05370" y="2154798"/>
            <a:ext cx="382017" cy="382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5943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">
            <a:extLst>
              <a:ext uri="{FF2B5EF4-FFF2-40B4-BE49-F238E27FC236}">
                <a16:creationId xmlns:a16="http://schemas.microsoft.com/office/drawing/2014/main" id="{FA623528-AF9E-4AD0-99A4-E284C1B1B5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9681" y="4562858"/>
            <a:ext cx="5905500" cy="1788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6959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/>
          </a:bodyPr>
          <a:lstStyle/>
          <a:p>
            <a:r>
              <a:rPr lang="en-GB" sz="2400" dirty="0"/>
              <a:t>Data collection and understand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925" y="1138268"/>
            <a:ext cx="4716324" cy="4700037"/>
          </a:xfrm>
        </p:spPr>
        <p:txBody>
          <a:bodyPr>
            <a:normAutofit/>
          </a:bodyPr>
          <a:lstStyle/>
          <a:p>
            <a:r>
              <a:rPr lang="en-GB" sz="2000" dirty="0"/>
              <a:t>Data source: NASA Power</a:t>
            </a:r>
          </a:p>
          <a:p>
            <a:r>
              <a:rPr lang="en-GB" sz="2000" dirty="0"/>
              <a:t>Collected from 5 locations to cover Singapore</a:t>
            </a:r>
          </a:p>
          <a:p>
            <a:r>
              <a:rPr lang="en-GB" sz="2000" dirty="0"/>
              <a:t>15 variables collected, 3 ordinal 12 continuous</a:t>
            </a:r>
          </a:p>
          <a:p>
            <a:r>
              <a:rPr lang="en-GB" sz="2000" dirty="0"/>
              <a:t>From January 2010 to December 2021</a:t>
            </a:r>
          </a:p>
          <a:p>
            <a:r>
              <a:rPr lang="en-GB" sz="2000" dirty="0"/>
              <a:t>Irradiance is left skewed</a:t>
            </a:r>
          </a:p>
          <a:p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4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 descr="Map&#10;&#10;Description automatically generated">
            <a:extLst>
              <a:ext uri="{FF2B5EF4-FFF2-40B4-BE49-F238E27FC236}">
                <a16:creationId xmlns:a16="http://schemas.microsoft.com/office/drawing/2014/main" id="{809404F8-C66A-7CCE-B0F5-878835C31A2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0262"/>
          <a:stretch/>
        </p:blipFill>
        <p:spPr>
          <a:xfrm>
            <a:off x="5137190" y="1097529"/>
            <a:ext cx="6561242" cy="321729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DFB6E99-0DDF-6C5E-7C07-E1F6B499DC6E}"/>
              </a:ext>
            </a:extLst>
          </p:cNvPr>
          <p:cNvSpPr txBox="1"/>
          <p:nvPr/>
        </p:nvSpPr>
        <p:spPr>
          <a:xfrm>
            <a:off x="1802675" y="6487425"/>
            <a:ext cx="10145485" cy="3300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US" sz="900" dirty="0">
                <a:effectLst/>
                <a:latin typeface="Times New Roman" panose="02020603050405020304" pitchFamily="18" charset="0"/>
                <a:ea typeface="Palatino Linotype" panose="02040502050505030304" pitchFamily="18" charset="0"/>
                <a:cs typeface="Palatino Linotype" panose="02040502050505030304" pitchFamily="18" charset="0"/>
              </a:rPr>
              <a:t>Acknowledgements</a:t>
            </a:r>
            <a:r>
              <a:rPr lang="en-SG" sz="900" dirty="0">
                <a:effectLst/>
                <a:latin typeface="Palatino Linotype" panose="02040502050505030304" pitchFamily="18" charset="0"/>
                <a:ea typeface="Palatino Linotype" panose="02040502050505030304" pitchFamily="18" charset="0"/>
                <a:cs typeface="Palatino Linotype" panose="02040502050505030304" pitchFamily="18" charset="0"/>
              </a:rPr>
              <a:t>: </a:t>
            </a:r>
            <a:r>
              <a:rPr lang="en-US" sz="900" i="1" dirty="0">
                <a:effectLst/>
                <a:latin typeface="Times New Roman" panose="02020603050405020304" pitchFamily="18" charset="0"/>
                <a:ea typeface="Palatino Linotype" panose="02040502050505030304" pitchFamily="18" charset="0"/>
                <a:cs typeface="Palatino Linotype" panose="02040502050505030304" pitchFamily="18" charset="0"/>
              </a:rPr>
              <a:t>The data were obtained from the NASA Langley Research Center (</a:t>
            </a:r>
            <a:r>
              <a:rPr lang="en-US" sz="900" i="1" dirty="0" err="1">
                <a:effectLst/>
                <a:latin typeface="Times New Roman" panose="02020603050405020304" pitchFamily="18" charset="0"/>
                <a:ea typeface="Palatino Linotype" panose="02040502050505030304" pitchFamily="18" charset="0"/>
                <a:cs typeface="Palatino Linotype" panose="02040502050505030304" pitchFamily="18" charset="0"/>
              </a:rPr>
              <a:t>LaRC</a:t>
            </a:r>
            <a:r>
              <a:rPr lang="en-US" sz="900" i="1" dirty="0">
                <a:effectLst/>
                <a:latin typeface="Times New Roman" panose="02020603050405020304" pitchFamily="18" charset="0"/>
                <a:ea typeface="Palatino Linotype" panose="02040502050505030304" pitchFamily="18" charset="0"/>
                <a:cs typeface="Palatino Linotype" panose="02040502050505030304" pitchFamily="18" charset="0"/>
              </a:rPr>
              <a:t>) POWER Project funded through the NASA Earth Science/Applied Science Program</a:t>
            </a:r>
            <a:endParaRPr lang="en-SG" sz="900" dirty="0">
              <a:effectLst/>
              <a:latin typeface="Palatino Linotype" panose="02040502050505030304" pitchFamily="18" charset="0"/>
              <a:ea typeface="Palatino Linotype" panose="02040502050505030304" pitchFamily="18" charset="0"/>
              <a:cs typeface="Palatino Linotype" panose="02040502050505030304" pitchFamily="18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D904698-716B-A576-C529-20439FB0A7E3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44853DC-38C5-040F-EB03-8E07D2D525EF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DC28879-8A69-9448-F0DF-DC428BF48A99}"/>
              </a:ext>
            </a:extLst>
          </p:cNvPr>
          <p:cNvGrpSpPr/>
          <p:nvPr/>
        </p:nvGrpSpPr>
        <p:grpSpPr>
          <a:xfrm>
            <a:off x="7959537" y="1103715"/>
            <a:ext cx="1784538" cy="503800"/>
            <a:chOff x="7959537" y="1103715"/>
            <a:chExt cx="1784538" cy="5038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E94796C-A6A7-2BF4-BB78-AB0F7F178C17}"/>
                </a:ext>
              </a:extLst>
            </p:cNvPr>
            <p:cNvSpPr/>
            <p:nvPr/>
          </p:nvSpPr>
          <p:spPr>
            <a:xfrm>
              <a:off x="7959537" y="1103715"/>
              <a:ext cx="1784538" cy="25518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/>
                <a:t>1.4373N, 103.778E</a:t>
              </a: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618B1BD8-2A17-212B-8526-A23FF28E6668}"/>
                </a:ext>
              </a:extLst>
            </p:cNvPr>
            <p:cNvSpPr/>
            <p:nvPr/>
          </p:nvSpPr>
          <p:spPr>
            <a:xfrm rot="10800000">
              <a:off x="7969585" y="1352333"/>
              <a:ext cx="191388" cy="255182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A2F52322-A24F-D69D-B08E-53C3D49FE116}"/>
              </a:ext>
            </a:extLst>
          </p:cNvPr>
          <p:cNvSpPr/>
          <p:nvPr/>
        </p:nvSpPr>
        <p:spPr>
          <a:xfrm>
            <a:off x="9578963" y="2440214"/>
            <a:ext cx="1756128" cy="2822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1.3603N, 103.9918E</a:t>
            </a: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B453AE54-6097-0A89-C0BD-CDC9C41B537D}"/>
              </a:ext>
            </a:extLst>
          </p:cNvPr>
          <p:cNvSpPr/>
          <p:nvPr/>
        </p:nvSpPr>
        <p:spPr>
          <a:xfrm rot="10800000">
            <a:off x="10836271" y="2658134"/>
            <a:ext cx="191388" cy="25518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380345-291F-C000-AE9F-7CD1C9406EDB}"/>
              </a:ext>
            </a:extLst>
          </p:cNvPr>
          <p:cNvSpPr/>
          <p:nvPr/>
        </p:nvSpPr>
        <p:spPr>
          <a:xfrm>
            <a:off x="8266737" y="3607824"/>
            <a:ext cx="1784538" cy="25518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1.2734N, 103.8178E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4689B9F6-71F7-FDD7-B2B8-E88B1BEFF529}"/>
              </a:ext>
            </a:extLst>
          </p:cNvPr>
          <p:cNvSpPr/>
          <p:nvPr/>
        </p:nvSpPr>
        <p:spPr>
          <a:xfrm rot="10800000">
            <a:off x="8266737" y="3855857"/>
            <a:ext cx="191388" cy="25518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49DB1BA-0246-9716-0D88-261D5F41FC40}"/>
              </a:ext>
            </a:extLst>
          </p:cNvPr>
          <p:cNvSpPr/>
          <p:nvPr/>
        </p:nvSpPr>
        <p:spPr>
          <a:xfrm>
            <a:off x="6270690" y="2447705"/>
            <a:ext cx="1784538" cy="25518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1.3505N, 103.6811E</a:t>
            </a: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A2F7DE0B-D038-A0B2-7F5C-41AE103AE6AF}"/>
              </a:ext>
            </a:extLst>
          </p:cNvPr>
          <p:cNvSpPr/>
          <p:nvPr/>
        </p:nvSpPr>
        <p:spPr>
          <a:xfrm rot="10800000">
            <a:off x="6270690" y="2695738"/>
            <a:ext cx="191388" cy="25518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2ECD8A2-8F2A-C082-20BA-693FA39018FC}"/>
              </a:ext>
            </a:extLst>
          </p:cNvPr>
          <p:cNvSpPr/>
          <p:nvPr/>
        </p:nvSpPr>
        <p:spPr>
          <a:xfrm>
            <a:off x="8055228" y="2154681"/>
            <a:ext cx="1784538" cy="25518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1.3683N, 103.8022E</a:t>
            </a: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F9D7D4EB-A598-35AA-6772-9A56D5635F64}"/>
              </a:ext>
            </a:extLst>
          </p:cNvPr>
          <p:cNvSpPr/>
          <p:nvPr/>
        </p:nvSpPr>
        <p:spPr>
          <a:xfrm rot="10800000">
            <a:off x="8055228" y="2402714"/>
            <a:ext cx="191388" cy="25518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E85902-0CF7-0674-B658-8C8287810DC7}"/>
              </a:ext>
            </a:extLst>
          </p:cNvPr>
          <p:cNvSpPr txBox="1"/>
          <p:nvPr/>
        </p:nvSpPr>
        <p:spPr>
          <a:xfrm>
            <a:off x="7183406" y="4273087"/>
            <a:ext cx="31460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Figure 1 – data collection loc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EB72E1-722E-8307-F5F0-05F3763CF064}"/>
              </a:ext>
            </a:extLst>
          </p:cNvPr>
          <p:cNvSpPr txBox="1"/>
          <p:nvPr/>
        </p:nvSpPr>
        <p:spPr>
          <a:xfrm>
            <a:off x="7183406" y="6307798"/>
            <a:ext cx="31460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Figure 2 – Histogram of solar irradiance</a:t>
            </a:r>
          </a:p>
        </p:txBody>
      </p:sp>
    </p:spTree>
    <p:extLst>
      <p:ext uri="{BB962C8B-B14F-4D97-AF65-F5344CB8AC3E}">
        <p14:creationId xmlns:p14="http://schemas.microsoft.com/office/powerpoint/2010/main" val="87317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0038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/>
          </a:bodyPr>
          <a:lstStyle/>
          <a:p>
            <a:r>
              <a:rPr lang="en-GB" sz="2400" dirty="0"/>
              <a:t>Data prepa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5</a:t>
            </a:fld>
            <a:endParaRPr lang="en-GB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614E37A-606F-B757-5ED5-12B466441058}"/>
              </a:ext>
            </a:extLst>
          </p:cNvPr>
          <p:cNvSpPr/>
          <p:nvPr/>
        </p:nvSpPr>
        <p:spPr>
          <a:xfrm>
            <a:off x="4141611" y="3563139"/>
            <a:ext cx="1371601" cy="8191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Interpolate missing 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1AA65A-C8E2-BDB5-A01D-B5A42F5AC1DE}"/>
              </a:ext>
            </a:extLst>
          </p:cNvPr>
          <p:cNvSpPr/>
          <p:nvPr/>
        </p:nvSpPr>
        <p:spPr>
          <a:xfrm>
            <a:off x="5966882" y="3578654"/>
            <a:ext cx="1371600" cy="8191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emove outli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4E5980B-EA0A-5A99-D1B7-F2C3305665E4}"/>
              </a:ext>
            </a:extLst>
          </p:cNvPr>
          <p:cNvSpPr/>
          <p:nvPr/>
        </p:nvSpPr>
        <p:spPr>
          <a:xfrm>
            <a:off x="7813767" y="3578654"/>
            <a:ext cx="1620613" cy="8191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ompute average across all location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FB24672-5AC7-8173-92F9-7566E9BB84F0}"/>
              </a:ext>
            </a:extLst>
          </p:cNvPr>
          <p:cNvCxnSpPr>
            <a:cxnSpLocks/>
          </p:cNvCxnSpPr>
          <p:nvPr/>
        </p:nvCxnSpPr>
        <p:spPr>
          <a:xfrm flipV="1">
            <a:off x="9438326" y="3265146"/>
            <a:ext cx="330925" cy="3135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12A7374-8068-6F64-2B1B-F3CDF1D7F41E}"/>
              </a:ext>
            </a:extLst>
          </p:cNvPr>
          <p:cNvCxnSpPr>
            <a:cxnSpLocks/>
          </p:cNvCxnSpPr>
          <p:nvPr/>
        </p:nvCxnSpPr>
        <p:spPr>
          <a:xfrm>
            <a:off x="9447356" y="4408686"/>
            <a:ext cx="338815" cy="2307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E4B06C7-5D7E-AA07-99A2-D333D6803813}"/>
              </a:ext>
            </a:extLst>
          </p:cNvPr>
          <p:cNvCxnSpPr>
            <a:cxnSpLocks/>
          </p:cNvCxnSpPr>
          <p:nvPr/>
        </p:nvCxnSpPr>
        <p:spPr>
          <a:xfrm>
            <a:off x="1654708" y="3972714"/>
            <a:ext cx="3513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59858A4-90F7-5BA9-6E37-62846616D2A1}"/>
              </a:ext>
            </a:extLst>
          </p:cNvPr>
          <p:cNvCxnSpPr>
            <a:cxnSpLocks/>
          </p:cNvCxnSpPr>
          <p:nvPr/>
        </p:nvCxnSpPr>
        <p:spPr>
          <a:xfrm>
            <a:off x="4816227" y="3952483"/>
            <a:ext cx="3513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A3D749B-0912-1742-2ED8-5890BD1D21CF}"/>
              </a:ext>
            </a:extLst>
          </p:cNvPr>
          <p:cNvCxnSpPr>
            <a:cxnSpLocks/>
          </p:cNvCxnSpPr>
          <p:nvPr/>
        </p:nvCxnSpPr>
        <p:spPr>
          <a:xfrm>
            <a:off x="7380589" y="4038705"/>
            <a:ext cx="3513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BDC0FBCA-1012-46DA-5961-D598DD5E5C77}"/>
              </a:ext>
            </a:extLst>
          </p:cNvPr>
          <p:cNvSpPr/>
          <p:nvPr/>
        </p:nvSpPr>
        <p:spPr>
          <a:xfrm>
            <a:off x="394855" y="1576251"/>
            <a:ext cx="8946572" cy="37446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ommon steps for both mode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06E7A10-A69A-5967-AEB7-74748DC376B7}"/>
              </a:ext>
            </a:extLst>
          </p:cNvPr>
          <p:cNvSpPr/>
          <p:nvPr/>
        </p:nvSpPr>
        <p:spPr>
          <a:xfrm>
            <a:off x="9447356" y="1583897"/>
            <a:ext cx="2615768" cy="37446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Model specific step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85945E4-A913-AD12-67BA-266930389C8D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0DC5818-ED36-4564-D058-5343D8456BF9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BD6AC772-4366-9642-98C9-935840A49264}"/>
              </a:ext>
            </a:extLst>
          </p:cNvPr>
          <p:cNvSpPr/>
          <p:nvPr/>
        </p:nvSpPr>
        <p:spPr>
          <a:xfrm>
            <a:off x="293619" y="3631109"/>
            <a:ext cx="1272333" cy="663529"/>
          </a:xfrm>
          <a:prstGeom prst="roundRect">
            <a:avLst>
              <a:gd name="adj" fmla="val 4328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aw data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201F87B-C94E-B528-B86B-25079FF330FF}"/>
              </a:ext>
            </a:extLst>
          </p:cNvPr>
          <p:cNvSpPr/>
          <p:nvPr/>
        </p:nvSpPr>
        <p:spPr>
          <a:xfrm>
            <a:off x="9716710" y="2204337"/>
            <a:ext cx="1963874" cy="1087434"/>
          </a:xfrm>
          <a:prstGeom prst="roundRect">
            <a:avLst>
              <a:gd name="adj" fmla="val 4328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tationary + Seasonality test (SARIMA)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8A0E2856-A5C5-5AA1-E6C0-928FEC4B5339}"/>
              </a:ext>
            </a:extLst>
          </p:cNvPr>
          <p:cNvSpPr/>
          <p:nvPr/>
        </p:nvSpPr>
        <p:spPr>
          <a:xfrm>
            <a:off x="9716710" y="4604218"/>
            <a:ext cx="1963874" cy="1087434"/>
          </a:xfrm>
          <a:prstGeom prst="roundRect">
            <a:avLst>
              <a:gd name="adj" fmla="val 4328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Normalization (LSTM)</a:t>
            </a:r>
          </a:p>
        </p:txBody>
      </p:sp>
      <p:sp>
        <p:nvSpPr>
          <p:cNvPr id="28" name="Flowchart: Decision 27">
            <a:extLst>
              <a:ext uri="{FF2B5EF4-FFF2-40B4-BE49-F238E27FC236}">
                <a16:creationId xmlns:a16="http://schemas.microsoft.com/office/drawing/2014/main" id="{BCF12C4A-F2D3-96B6-7AFC-008B9983A61C}"/>
              </a:ext>
            </a:extLst>
          </p:cNvPr>
          <p:cNvSpPr/>
          <p:nvPr/>
        </p:nvSpPr>
        <p:spPr>
          <a:xfrm>
            <a:off x="2033685" y="3428997"/>
            <a:ext cx="1667942" cy="1087434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Is data quality ok?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AAD6D36-D74F-99A1-9845-EC156A410DE4}"/>
              </a:ext>
            </a:extLst>
          </p:cNvPr>
          <p:cNvCxnSpPr>
            <a:cxnSpLocks/>
          </p:cNvCxnSpPr>
          <p:nvPr/>
        </p:nvCxnSpPr>
        <p:spPr>
          <a:xfrm>
            <a:off x="3750208" y="3993496"/>
            <a:ext cx="3513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54E1310-5FD7-311D-8A1E-E82C54AE78B0}"/>
              </a:ext>
            </a:extLst>
          </p:cNvPr>
          <p:cNvCxnSpPr>
            <a:cxnSpLocks/>
          </p:cNvCxnSpPr>
          <p:nvPr/>
        </p:nvCxnSpPr>
        <p:spPr>
          <a:xfrm>
            <a:off x="5563048" y="4011101"/>
            <a:ext cx="3513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822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936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/>
          </a:bodyPr>
          <a:lstStyle/>
          <a:p>
            <a:r>
              <a:rPr lang="en-GB" sz="2400" dirty="0"/>
              <a:t>Modelling - SARIM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6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A1383EF-060A-1B07-46EE-E781B09DDC04}"/>
              </a:ext>
            </a:extLst>
          </p:cNvPr>
          <p:cNvSpPr/>
          <p:nvPr/>
        </p:nvSpPr>
        <p:spPr>
          <a:xfrm>
            <a:off x="955767" y="1442585"/>
            <a:ext cx="1645920" cy="9492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aily irradian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AE0551-A4B9-FA70-FE2C-72FFB11211B0}"/>
              </a:ext>
            </a:extLst>
          </p:cNvPr>
          <p:cNvSpPr/>
          <p:nvPr/>
        </p:nvSpPr>
        <p:spPr>
          <a:xfrm>
            <a:off x="3233058" y="1442585"/>
            <a:ext cx="1645920" cy="9492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Data preparation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4CAEB10-9BC6-1B00-E936-9FD584D0B9F1}"/>
              </a:ext>
            </a:extLst>
          </p:cNvPr>
          <p:cNvSpPr/>
          <p:nvPr/>
        </p:nvSpPr>
        <p:spPr>
          <a:xfrm>
            <a:off x="5510349" y="1442585"/>
            <a:ext cx="1645920" cy="9492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Stationarity test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45867E6-0778-D287-5391-ABDE8DF01694}"/>
              </a:ext>
            </a:extLst>
          </p:cNvPr>
          <p:cNvSpPr/>
          <p:nvPr/>
        </p:nvSpPr>
        <p:spPr>
          <a:xfrm>
            <a:off x="7787640" y="1442585"/>
            <a:ext cx="1645920" cy="9492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Identify AR and MA term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65BE23-74A3-C969-6CEB-8C7F402A29EC}"/>
              </a:ext>
            </a:extLst>
          </p:cNvPr>
          <p:cNvSpPr/>
          <p:nvPr/>
        </p:nvSpPr>
        <p:spPr>
          <a:xfrm>
            <a:off x="10199914" y="1437542"/>
            <a:ext cx="1645920" cy="9492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Fit model to parameters identifie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2FFFC9-6706-81B4-9016-CC090FE7A731}"/>
              </a:ext>
            </a:extLst>
          </p:cNvPr>
          <p:cNvSpPr/>
          <p:nvPr/>
        </p:nvSpPr>
        <p:spPr>
          <a:xfrm>
            <a:off x="10199914" y="2754103"/>
            <a:ext cx="1645920" cy="9492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Forecast and check residual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8FD5B16-50AE-F609-6075-CAE35F19129C}"/>
              </a:ext>
            </a:extLst>
          </p:cNvPr>
          <p:cNvSpPr/>
          <p:nvPr/>
        </p:nvSpPr>
        <p:spPr>
          <a:xfrm>
            <a:off x="10199914" y="4034263"/>
            <a:ext cx="1645920" cy="9492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Model Deployment</a:t>
            </a: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C4D9F47C-B454-C9BD-D7C7-8F9F973ECB61}"/>
              </a:ext>
            </a:extLst>
          </p:cNvPr>
          <p:cNvSpPr/>
          <p:nvPr/>
        </p:nvSpPr>
        <p:spPr>
          <a:xfrm rot="16200000">
            <a:off x="2756264" y="1666830"/>
            <a:ext cx="322217" cy="50074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43D59D93-F6AC-2F9D-4C06-34C051A4ADBE}"/>
              </a:ext>
            </a:extLst>
          </p:cNvPr>
          <p:cNvSpPr/>
          <p:nvPr/>
        </p:nvSpPr>
        <p:spPr>
          <a:xfrm rot="16200000">
            <a:off x="5037910" y="1666829"/>
            <a:ext cx="322217" cy="50074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64977A76-BD7D-A63F-F7EB-BBF6E14BE353}"/>
              </a:ext>
            </a:extLst>
          </p:cNvPr>
          <p:cNvSpPr/>
          <p:nvPr/>
        </p:nvSpPr>
        <p:spPr>
          <a:xfrm rot="16200000">
            <a:off x="7306491" y="1666828"/>
            <a:ext cx="322217" cy="50074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22485922-3923-AB7B-800D-CB8BF394627A}"/>
              </a:ext>
            </a:extLst>
          </p:cNvPr>
          <p:cNvSpPr/>
          <p:nvPr/>
        </p:nvSpPr>
        <p:spPr>
          <a:xfrm>
            <a:off x="10861765" y="2475492"/>
            <a:ext cx="322217" cy="24034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4FC020E1-F9E0-A9C7-B239-27588F53B6B5}"/>
              </a:ext>
            </a:extLst>
          </p:cNvPr>
          <p:cNvSpPr/>
          <p:nvPr/>
        </p:nvSpPr>
        <p:spPr>
          <a:xfrm>
            <a:off x="10861765" y="3767791"/>
            <a:ext cx="322217" cy="24034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D830E913-2E2B-6697-2078-AB24CD868C72}"/>
              </a:ext>
            </a:extLst>
          </p:cNvPr>
          <p:cNvSpPr/>
          <p:nvPr/>
        </p:nvSpPr>
        <p:spPr>
          <a:xfrm rot="16200000">
            <a:off x="9614262" y="1691670"/>
            <a:ext cx="322217" cy="50074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4F74CBA1-F31B-2E0F-3B39-08D326A59D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1149" y="2715837"/>
            <a:ext cx="8673850" cy="3267520"/>
          </a:xfrm>
        </p:spPr>
        <p:txBody>
          <a:bodyPr>
            <a:normAutofit/>
          </a:bodyPr>
          <a:lstStyle/>
          <a:p>
            <a:r>
              <a:rPr lang="en-GB" sz="2000" dirty="0"/>
              <a:t>SARIMA to account for exogeneous variable, </a:t>
            </a:r>
          </a:p>
          <a:p>
            <a:pPr lvl="1"/>
            <a:r>
              <a:rPr lang="en-GB" sz="1600" dirty="0"/>
              <a:t>function of pdq x s(pdq)</a:t>
            </a:r>
          </a:p>
          <a:p>
            <a:r>
              <a:rPr lang="en-GB" sz="2000" dirty="0"/>
              <a:t>Dickey-Fuller (ADF) for stationarity</a:t>
            </a:r>
          </a:p>
          <a:p>
            <a:r>
              <a:rPr lang="en-GB" sz="2000" dirty="0"/>
              <a:t>Determine p and q by plotting ACF and PACF</a:t>
            </a:r>
          </a:p>
          <a:p>
            <a:r>
              <a:rPr lang="en-GB" sz="2000" dirty="0"/>
              <a:t>AIC to compare model performance*  </a:t>
            </a:r>
          </a:p>
          <a:p>
            <a:r>
              <a:rPr lang="en-SG" sz="2000" dirty="0"/>
              <a:t>2010 to 2020 for training, 2021 for testing </a:t>
            </a:r>
            <a:endParaRPr lang="en-GB" sz="2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521749-5795-221D-9556-86443B16CC54}"/>
              </a:ext>
            </a:extLst>
          </p:cNvPr>
          <p:cNvSpPr txBox="1"/>
          <p:nvPr/>
        </p:nvSpPr>
        <p:spPr>
          <a:xfrm>
            <a:off x="113434" y="6500658"/>
            <a:ext cx="10145485" cy="3573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SG" sz="1000" dirty="0">
                <a:effectLst/>
                <a:latin typeface="Palatino Linotype" panose="02040502050505030304" pitchFamily="18" charset="0"/>
                <a:ea typeface="Palatino Linotype" panose="02040502050505030304" pitchFamily="18" charset="0"/>
                <a:cs typeface="Palatino Linotype" panose="02040502050505030304" pitchFamily="18" charset="0"/>
              </a:rPr>
              <a:t>*It is normal for model parameter converged from AIC to be different from terms initially identified in stationarity and ACF/PACF plo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8BA8F5C-C542-ADB6-8419-98AE590FB324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AB7A7C7-6C5C-C5A7-8249-F7C35CE4FEB6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15473165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134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/>
          </a:bodyPr>
          <a:lstStyle/>
          <a:p>
            <a:r>
              <a:rPr lang="en-GB" sz="2400" dirty="0"/>
              <a:t>SARIMA Post-modelling Residual Valid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7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4F74CBA1-F31B-2E0F-3B39-08D326A59D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493" y="4126888"/>
            <a:ext cx="5244851" cy="1674848"/>
          </a:xfrm>
        </p:spPr>
        <p:txBody>
          <a:bodyPr>
            <a:noAutofit/>
          </a:bodyPr>
          <a:lstStyle/>
          <a:p>
            <a:r>
              <a:rPr lang="en-GB" sz="2000" dirty="0"/>
              <a:t>Generated </a:t>
            </a:r>
            <a:r>
              <a:rPr lang="en-SG" sz="2000" dirty="0"/>
              <a:t>MSE of 1.68 and a RMSE of 1.30</a:t>
            </a:r>
          </a:p>
          <a:p>
            <a:r>
              <a:rPr lang="en-SG" sz="2000" dirty="0"/>
              <a:t>Majority of irradiance are between ±3</a:t>
            </a:r>
          </a:p>
          <a:p>
            <a:r>
              <a:rPr lang="en-SG" sz="2000" dirty="0"/>
              <a:t>Correlation is within ±0.25 for lag 1 onwards</a:t>
            </a:r>
          </a:p>
        </p:txBody>
      </p:sp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5A5FC559-21FC-8160-DF3C-BE8FBD321F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1907" y="1108683"/>
            <a:ext cx="5224531" cy="247681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FA647316-FD42-DA6E-C5D7-E313176BAD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501" y="4005711"/>
            <a:ext cx="5224531" cy="244845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74FB02-2277-CC03-82B7-AADA0F307CC3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CD1ADFD-5A68-4C5A-3772-65A6E25D2BE0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A7C6556-41CA-D42E-849F-B876C9B787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51" y="1056264"/>
            <a:ext cx="6412443" cy="2611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E0EAF60-DE25-EC68-A151-2C4516EEA928}"/>
              </a:ext>
            </a:extLst>
          </p:cNvPr>
          <p:cNvSpPr txBox="1"/>
          <p:nvPr/>
        </p:nvSpPr>
        <p:spPr>
          <a:xfrm>
            <a:off x="1877981" y="3637324"/>
            <a:ext cx="3541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Figure 3: Irradiance forecast vs testing dat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30B85F-B93D-97BF-9152-EE590AD98B95}"/>
              </a:ext>
            </a:extLst>
          </p:cNvPr>
          <p:cNvSpPr txBox="1"/>
          <p:nvPr/>
        </p:nvSpPr>
        <p:spPr>
          <a:xfrm>
            <a:off x="8268478" y="6418791"/>
            <a:ext cx="3541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Figure 5: Residual correlogra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8CA866-5235-7464-0C99-D51F1B3CA5F7}"/>
              </a:ext>
            </a:extLst>
          </p:cNvPr>
          <p:cNvSpPr txBox="1"/>
          <p:nvPr/>
        </p:nvSpPr>
        <p:spPr>
          <a:xfrm>
            <a:off x="8410288" y="3603948"/>
            <a:ext cx="3541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Figure 4: Residual plot</a:t>
            </a:r>
          </a:p>
        </p:txBody>
      </p:sp>
    </p:spTree>
    <p:extLst>
      <p:ext uri="{BB962C8B-B14F-4D97-AF65-F5344CB8AC3E}">
        <p14:creationId xmlns:p14="http://schemas.microsoft.com/office/powerpoint/2010/main" val="11632727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231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/>
          </a:bodyPr>
          <a:lstStyle/>
          <a:p>
            <a:r>
              <a:rPr lang="en-GB" sz="2400" dirty="0"/>
              <a:t>Modelling - LST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Use all 15 variables as compared to SARIMA</a:t>
            </a:r>
          </a:p>
          <a:p>
            <a:r>
              <a:rPr lang="en-GB" sz="2000" dirty="0"/>
              <a:t>Input, hidden, output layer</a:t>
            </a:r>
          </a:p>
          <a:p>
            <a:r>
              <a:rPr lang="en-GB" sz="2000" dirty="0"/>
              <a:t>Hyperparameter tuning:</a:t>
            </a:r>
          </a:p>
          <a:p>
            <a:pPr lvl="1"/>
            <a:r>
              <a:rPr lang="en-SG" sz="1800" dirty="0"/>
              <a:t>learning rate </a:t>
            </a:r>
          </a:p>
          <a:p>
            <a:pPr lvl="1"/>
            <a:r>
              <a:rPr lang="en-GB" sz="1800" dirty="0"/>
              <a:t>Epoch</a:t>
            </a:r>
          </a:p>
          <a:p>
            <a:pPr lvl="1"/>
            <a:r>
              <a:rPr lang="en-SG" sz="1800" dirty="0"/>
              <a:t>batch size</a:t>
            </a:r>
          </a:p>
          <a:p>
            <a:pPr lvl="1"/>
            <a:r>
              <a:rPr lang="en-SG" sz="1800" dirty="0"/>
              <a:t>number of neurons</a:t>
            </a:r>
          </a:p>
          <a:p>
            <a:r>
              <a:rPr lang="en-SG" sz="2000" dirty="0"/>
              <a:t>Same train-test split as SARIMA</a:t>
            </a:r>
          </a:p>
          <a:p>
            <a:r>
              <a:rPr lang="en-GB" sz="2000" dirty="0"/>
              <a:t>Generated </a:t>
            </a:r>
            <a:r>
              <a:rPr lang="en-SG" sz="2000" dirty="0"/>
              <a:t>MSE of 0.02 and a RMSE of 0.1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8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9DF3C52-226E-850F-B05A-B26F64F1B36C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5177D99-F749-B5B1-3D03-CABD3BC76162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68F7660-6033-516C-E42B-FD398E5701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9723" y="1069843"/>
            <a:ext cx="4127902" cy="2386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4CFB8D52-CA06-F9B4-742C-18CC830E4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7356" y="3705135"/>
            <a:ext cx="5483421" cy="2662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AE0B771-9BAB-3385-EB6C-A5AC599CCF5F}"/>
              </a:ext>
            </a:extLst>
          </p:cNvPr>
          <p:cNvSpPr txBox="1"/>
          <p:nvPr/>
        </p:nvSpPr>
        <p:spPr>
          <a:xfrm>
            <a:off x="8349033" y="3406404"/>
            <a:ext cx="3541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Figure 6: LSTM memory cel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C7AAC9-CC31-4DC9-B921-C3981CC977B3}"/>
              </a:ext>
            </a:extLst>
          </p:cNvPr>
          <p:cNvSpPr txBox="1"/>
          <p:nvPr/>
        </p:nvSpPr>
        <p:spPr>
          <a:xfrm>
            <a:off x="8072808" y="6382129"/>
            <a:ext cx="3541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Figure 7: LSTM Forecast vs testing data</a:t>
            </a:r>
          </a:p>
        </p:txBody>
      </p:sp>
    </p:spTree>
    <p:extLst>
      <p:ext uri="{BB962C8B-B14F-4D97-AF65-F5344CB8AC3E}">
        <p14:creationId xmlns:p14="http://schemas.microsoft.com/office/powerpoint/2010/main" val="34735132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1012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>
            <a:extLst>
              <a:ext uri="{FF2B5EF4-FFF2-40B4-BE49-F238E27FC236}">
                <a16:creationId xmlns:a16="http://schemas.microsoft.com/office/drawing/2014/main" id="{B0F44B5F-D833-3173-EB51-FEDB0215F5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546" y="1407413"/>
            <a:ext cx="4562061" cy="1963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3EEBEA6B-322B-F68A-FEA0-33D3741A8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6664" y="1406343"/>
            <a:ext cx="4562061" cy="1963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/>
          </a:bodyPr>
          <a:lstStyle/>
          <a:p>
            <a:r>
              <a:rPr lang="en-GB" sz="2400" dirty="0"/>
              <a:t>Results and Discus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9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650C9E4-C68C-C35D-CDDE-D258E69BAAE4}"/>
              </a:ext>
            </a:extLst>
          </p:cNvPr>
          <p:cNvSpPr/>
          <p:nvPr/>
        </p:nvSpPr>
        <p:spPr>
          <a:xfrm>
            <a:off x="1053547" y="3690038"/>
            <a:ext cx="4562061" cy="37560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SARIM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B82B5F-91CB-1F86-0E27-379840D53601}"/>
              </a:ext>
            </a:extLst>
          </p:cNvPr>
          <p:cNvSpPr/>
          <p:nvPr/>
        </p:nvSpPr>
        <p:spPr>
          <a:xfrm>
            <a:off x="5986664" y="3688968"/>
            <a:ext cx="4562061" cy="37560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LST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9FF0E64-45A0-CE05-9C06-A8B3A1193720}"/>
              </a:ext>
            </a:extLst>
          </p:cNvPr>
          <p:cNvSpPr/>
          <p:nvPr/>
        </p:nvSpPr>
        <p:spPr>
          <a:xfrm>
            <a:off x="1053548" y="4553235"/>
            <a:ext cx="4562061" cy="1180914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Pros:</a:t>
            </a:r>
          </a:p>
          <a:p>
            <a:r>
              <a:rPr lang="en-GB" dirty="0">
                <a:solidFill>
                  <a:schemeClr val="tx1"/>
                </a:solidFill>
              </a:rPr>
              <a:t>Easier to understand</a:t>
            </a:r>
          </a:p>
          <a:p>
            <a:r>
              <a:rPr lang="en-GB" dirty="0">
                <a:solidFill>
                  <a:schemeClr val="tx1"/>
                </a:solidFill>
              </a:rPr>
              <a:t>Less computationally expensive</a:t>
            </a:r>
          </a:p>
          <a:p>
            <a:r>
              <a:rPr lang="en-GB" dirty="0">
                <a:solidFill>
                  <a:schemeClr val="tx1"/>
                </a:solidFill>
              </a:rPr>
              <a:t>Captures anomalous inform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55E0C6-7070-8022-CDCB-F82659FF4834}"/>
              </a:ext>
            </a:extLst>
          </p:cNvPr>
          <p:cNvSpPr/>
          <p:nvPr/>
        </p:nvSpPr>
        <p:spPr>
          <a:xfrm>
            <a:off x="5986665" y="4552165"/>
            <a:ext cx="4562061" cy="1181984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Pros:</a:t>
            </a:r>
          </a:p>
          <a:p>
            <a:r>
              <a:rPr lang="en-GB" dirty="0">
                <a:solidFill>
                  <a:schemeClr val="tx1"/>
                </a:solidFill>
              </a:rPr>
              <a:t>More accurate than SARIMA</a:t>
            </a:r>
          </a:p>
          <a:p>
            <a:r>
              <a:rPr lang="en-GB" dirty="0">
                <a:solidFill>
                  <a:schemeClr val="tx1"/>
                </a:solidFill>
              </a:rPr>
              <a:t>Considers exogenous variables</a:t>
            </a:r>
          </a:p>
          <a:p>
            <a:r>
              <a:rPr lang="en-GB" dirty="0">
                <a:solidFill>
                  <a:schemeClr val="tx1"/>
                </a:solidFill>
              </a:rPr>
              <a:t>Better at capturing sequential inform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282340B-F4D2-5027-93E5-69FD5CC4BCB2}"/>
              </a:ext>
            </a:extLst>
          </p:cNvPr>
          <p:cNvSpPr/>
          <p:nvPr/>
        </p:nvSpPr>
        <p:spPr>
          <a:xfrm>
            <a:off x="1053547" y="5868756"/>
            <a:ext cx="4562061" cy="57391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Cons:</a:t>
            </a:r>
          </a:p>
          <a:p>
            <a:r>
              <a:rPr lang="en-GB" dirty="0">
                <a:solidFill>
                  <a:schemeClr val="tx1"/>
                </a:solidFill>
              </a:rPr>
              <a:t>Forecast is less accurate than LST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65E827-61B3-EEE3-1CD5-0B3D797574B6}"/>
              </a:ext>
            </a:extLst>
          </p:cNvPr>
          <p:cNvSpPr/>
          <p:nvPr/>
        </p:nvSpPr>
        <p:spPr>
          <a:xfrm>
            <a:off x="5986665" y="5868755"/>
            <a:ext cx="4562061" cy="57391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>
                <a:solidFill>
                  <a:schemeClr val="tx1"/>
                </a:solidFill>
              </a:rPr>
              <a:t>Cons:</a:t>
            </a:r>
            <a:endParaRPr lang="en-GB" dirty="0">
              <a:solidFill>
                <a:schemeClr val="tx1"/>
              </a:solidFill>
            </a:endParaRPr>
          </a:p>
          <a:p>
            <a:r>
              <a:rPr lang="en-GB" dirty="0">
                <a:solidFill>
                  <a:schemeClr val="tx1"/>
                </a:solidFill>
              </a:rPr>
              <a:t>Difficult to understand beyond input lay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810E1B8-4B64-1E9C-3EBC-6882EE3C73B4}"/>
              </a:ext>
            </a:extLst>
          </p:cNvPr>
          <p:cNvCxnSpPr>
            <a:cxnSpLocks/>
          </p:cNvCxnSpPr>
          <p:nvPr/>
        </p:nvCxnSpPr>
        <p:spPr>
          <a:xfrm>
            <a:off x="156585" y="1019695"/>
            <a:ext cx="118788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5F9BC11-400B-A90C-DB5F-DE5020B0AAF9}"/>
              </a:ext>
            </a:extLst>
          </p:cNvPr>
          <p:cNvSpPr txBox="1"/>
          <p:nvPr/>
        </p:nvSpPr>
        <p:spPr>
          <a:xfrm>
            <a:off x="113434" y="6356350"/>
            <a:ext cx="62939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ANL488 Presentation</a:t>
            </a:r>
            <a:endParaRPr lang="en-SG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E6B38F7-1890-E139-C32C-1891EFFCB928}"/>
              </a:ext>
            </a:extLst>
          </p:cNvPr>
          <p:cNvSpPr txBox="1"/>
          <p:nvPr/>
        </p:nvSpPr>
        <p:spPr>
          <a:xfrm>
            <a:off x="6839728" y="3371053"/>
            <a:ext cx="3541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Figure 9: LSTM Forecast vs testing dat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7E29072-A936-EC20-C7C7-A81165239F54}"/>
              </a:ext>
            </a:extLst>
          </p:cNvPr>
          <p:cNvSpPr txBox="1"/>
          <p:nvPr/>
        </p:nvSpPr>
        <p:spPr>
          <a:xfrm>
            <a:off x="1832860" y="3371053"/>
            <a:ext cx="3541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Figure 8: SARIMA forecast vs testing dat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F74D60-2288-6DB0-F81C-470B98A24BB8}"/>
              </a:ext>
            </a:extLst>
          </p:cNvPr>
          <p:cNvSpPr txBox="1"/>
          <p:nvPr/>
        </p:nvSpPr>
        <p:spPr>
          <a:xfrm>
            <a:off x="1053546" y="4152005"/>
            <a:ext cx="45620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Generated </a:t>
            </a:r>
            <a:r>
              <a:rPr lang="en-SG" b="1" dirty="0">
                <a:solidFill>
                  <a:schemeClr val="tx1"/>
                </a:solidFill>
              </a:rPr>
              <a:t>MSE of 1.68 </a:t>
            </a:r>
            <a:r>
              <a:rPr lang="en-SG" dirty="0">
                <a:solidFill>
                  <a:schemeClr val="tx1"/>
                </a:solidFill>
              </a:rPr>
              <a:t>and a </a:t>
            </a:r>
            <a:r>
              <a:rPr lang="en-SG" b="1" dirty="0">
                <a:solidFill>
                  <a:schemeClr val="tx1"/>
                </a:solidFill>
              </a:rPr>
              <a:t>RMSE of 1.3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EF6DE1-3D9E-108F-5F85-8D705862F951}"/>
              </a:ext>
            </a:extLst>
          </p:cNvPr>
          <p:cNvSpPr txBox="1"/>
          <p:nvPr/>
        </p:nvSpPr>
        <p:spPr>
          <a:xfrm>
            <a:off x="5986664" y="4152005"/>
            <a:ext cx="45620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Generated </a:t>
            </a:r>
            <a:r>
              <a:rPr lang="en-US" b="1" dirty="0">
                <a:solidFill>
                  <a:schemeClr val="tx1"/>
                </a:solidFill>
              </a:rPr>
              <a:t>MSE of 0.02 </a:t>
            </a:r>
            <a:r>
              <a:rPr lang="en-US" dirty="0">
                <a:solidFill>
                  <a:schemeClr val="tx1"/>
                </a:solidFill>
              </a:rPr>
              <a:t>and a </a:t>
            </a:r>
            <a:r>
              <a:rPr lang="en-US" b="1" dirty="0">
                <a:solidFill>
                  <a:schemeClr val="tx1"/>
                </a:solidFill>
              </a:rPr>
              <a:t>RMSE of 0.14</a:t>
            </a:r>
            <a:endParaRPr lang="en-GB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895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89</TotalTime>
  <Words>2128</Words>
  <Application>Microsoft Office PowerPoint</Application>
  <PresentationFormat>Widescreen</PresentationFormat>
  <Paragraphs>227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Arial</vt:lpstr>
      <vt:lpstr>Calibri</vt:lpstr>
      <vt:lpstr>Calibri Light</vt:lpstr>
      <vt:lpstr>Palatino Linotype</vt:lpstr>
      <vt:lpstr>Times New Roman</vt:lpstr>
      <vt:lpstr>Office Theme</vt:lpstr>
      <vt:lpstr>think-cell Slide</vt:lpstr>
      <vt:lpstr>Comparison of SARIMA and LSTM models in forecasting solar irradiance </vt:lpstr>
      <vt:lpstr>Project background</vt:lpstr>
      <vt:lpstr>Gaps in literature review</vt:lpstr>
      <vt:lpstr>Data collection and understanding</vt:lpstr>
      <vt:lpstr>Data preparation</vt:lpstr>
      <vt:lpstr>Modelling - SARIMA</vt:lpstr>
      <vt:lpstr>SARIMA Post-modelling Residual Validation</vt:lpstr>
      <vt:lpstr>Modelling - LSTM</vt:lpstr>
      <vt:lpstr>Results and Discussion</vt:lpstr>
      <vt:lpstr>PowerPoint Presentation</vt:lpstr>
      <vt:lpstr>PowerPoint Presentation</vt:lpstr>
      <vt:lpstr>Thank you  For your kind atten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L488 Presentation</dc:title>
  <dc:creator>Guo Hao Alvin Chen</dc:creator>
  <cp:lastModifiedBy>Guo Hao Alvin Chen</cp:lastModifiedBy>
  <cp:revision>148</cp:revision>
  <dcterms:created xsi:type="dcterms:W3CDTF">2022-09-03T09:54:32Z</dcterms:created>
  <dcterms:modified xsi:type="dcterms:W3CDTF">2022-10-23T14:30:11Z</dcterms:modified>
</cp:coreProperties>
</file>